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13.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14.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15.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16.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17.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18.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19.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2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21.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22.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23.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24.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25.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26.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27.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28.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29.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3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31.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32.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33.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34.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35.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36.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37.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3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43"/>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ix Analysis by Retailer for Region" id="{21A815D3-8027-4C1F-B16A-45B3CE4A22F7}">
          <p14:sldIdLst>
            <p14:sldId id="2147475169"/>
            <p14:sldId id="2147475170"/>
            <p14:sldId id="2147475171"/>
            <p14:sldId id="2147475172"/>
            <p14:sldId id="2147475173"/>
          </p14:sldIdLst>
        </p14:section>
        <p14:section name="Mix Analysis by Retailer for Market" id="{45693845-2CF6-4B4A-B8E4-D99F86C21C9C}">
          <p14:sldIdLst>
            <p14:sldId id="2147475174"/>
            <p14:sldId id="2147475175"/>
            <p14:sldId id="2147475176"/>
            <p14:sldId id="2147475177"/>
            <p14:sldId id="2147475178"/>
          </p14:sldIdLst>
        </p14:section>
        <p14:section name="Mix Analysis by Sector" id="{BA7B95D8-205D-4B24-B82E-5CDECD8638C2}">
          <p14:sldIdLst>
            <p14:sldId id="2147475179"/>
            <p14:sldId id="2147475180"/>
            <p14:sldId id="2147475181"/>
            <p14:sldId id="2147475182"/>
          </p14:sldIdLst>
        </p14:section>
        <p14:section name="Mix Analysis by Segment" id="{364FFEEE-3449-4AE2-9930-CFA06AEDE46D}">
          <p14:sldIdLst>
            <p14:sldId id="2147475183"/>
            <p14:sldId id="2147475184"/>
            <p14:sldId id="2147475185"/>
            <p14:sldId id="2147475186"/>
          </p14:sldIdLst>
        </p14:section>
        <p14:section name="Mix Analysis bySKU" id="{6393A924-17BF-407E-B067-217259858912}">
          <p14:sldIdLst>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097"/>
    <a:srgbClr val="C00000"/>
    <a:srgbClr val="7DC9C4"/>
    <a:srgbClr val="006C6D"/>
    <a:srgbClr val="7ECAC4"/>
    <a:srgbClr val="FF8080"/>
    <a:srgbClr val="8DCFCA"/>
    <a:srgbClr val="A6DAD6"/>
    <a:srgbClr val="B2DFDC"/>
    <a:srgbClr val="43A39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E81D5E-7428-4206-B7E6-6B818DF1C011}" v="12" dt="2024-11-01T08:47:36.4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4D66A32-A1A7-4D97-BE27-7BDBEDB51C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3153AEB-0456-4638-AF53-F81E97EBF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48E756C-0988-4497-A4AF-CCA3A05E4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4150ECF-0843-40BE-BF4B-DE861E2793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60AFCE9-3494-42BC-8038-2856AB6C6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B7C64BF-25F6-4AEE-BBD7-7452C6CB8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E601084-B1BF-40D5-A2CB-D6DA9E140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A7048AF-FD22-4432-96D9-F76994ECC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BFAAD36-AD99-42EA-8BB8-8A0CC4651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E2A96EF-60FF-4C88-AA44-BEA2268BC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3246152-90D3-40F2-95FE-05D045644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F8EBA46-15B7-427E-AE36-C1A99A9588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AFAAF85-EDA2-49F0-8F99-CE082CDC64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0C96674-2FC5-4C8B-BD39-2A0B712EC6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EF5499D-2791-4C49-8E4E-3668F206E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53F6B74-3461-4067-8ED3-F5E3CC6626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EF6CAE4-61D5-451C-A323-2F6798DB5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23CF4E7-F7BF-4AB6-B436-45D9DA9F09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761D6E2-A7DF-4178-800D-B0FA4329EC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BDD255F-3BAB-4509-BC3A-2334B8FB9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52B4E67-376B-462E-845D-EEBBDC7812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212EF8D-DB67-4E8A-BB75-DAA2594033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F50A55C-ED9E-4B9A-9FD0-276A471E9F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0E78643-0B77-45A3-90B7-A1BF3298A2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46C811E-394A-45E3-B572-B7374D16D3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E89540E-69A0-4B71-BA25-530514598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76834E1-B4C8-499B-B261-23AB3D5B3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39ED984-1F58-427F-8D04-DDCCB4374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7237656-593A-4759-BBFE-FE8BEF841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88B657E-3057-4DC2-9993-E45160716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B1E2A1E-C079-47C9-9B03-BF91563D5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740AA7F-70EA-42AD-A157-56DBD89EA3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9A1CB4B-0E88-46CB-B305-76560813DF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EA267CF-72BC-434F-9131-CDAA9E145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5C219E0-7057-46AD-83B1-EAE3123E6A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AB8A966-518D-4308-800F-C3DC815786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E98686C-9D5F-44A2-851A-448A9C4CB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B884E34-A35D-42EF-83D1-16DD17E6AD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C515680-718E-49BD-B81F-6F4B722B97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24D5571-6FAC-4BAD-9949-3E7F64D75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27B4145-E36B-421A-9380-3EBA3E426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A40CC60-1BB1-4EE2-9910-86CF47DD70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B5F5F67-F414-4AED-94B6-896CA06BE3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63495D4-8941-4989-A5E5-D8AC2EB9F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E5DCF0C-CFDF-4322-A7F3-B206A9906A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4146B74-1740-4786-B546-D4314A8E0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F0F6B61-5920-4701-A09E-8F435037ED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422A504-4F87-45B4-92C6-DE40204776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4601D99-6C1F-4444-97C4-794BBA2B7F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67691A2-D197-4BA7-A11C-68492911D7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B58CEC2-E45F-4FE6-AF61-2787634F69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C7FF609-8037-42A2-BE43-5019DB70D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FA8D825-2C82-439B-9B71-D5838EAD5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01F8760-8C0F-426D-A10D-FBE6E5E81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75B7D35-884E-493D-B066-23A6A92E70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A6DA258-EFBE-443F-85DE-149DA3590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6B6BCD6-A32A-49B4-B080-879559E81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DD55F9D-C25B-4AC4-8E2E-6FB15D5424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709DCD3-8851-4434-A4EF-14A105CE7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1E328F2-F5F4-465D-9B10-4BF59BF64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7BDE114-834D-4926-BEB0-D4D7E62B5C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6B6D047-5FB0-45E2-8CE5-0A8EF59B3E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121C4A8-CE58-496B-AF26-8D9F1DF4C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0379947-4F80-444D-9D13-FEFEAD8B0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BC3FD35-ED5E-4AE3-9C9B-78FB24AB08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4D7FE5D-4E91-4748-8992-F3D510FDD7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3A0E508-B36C-4036-B141-95DA84628C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BB1DE20-3CA7-411D-99EB-D35967B53C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506E5C9-084D-4F52-8D9C-7926EB8E4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1F57634-1A6B-437D-BED1-FCD09F2FDF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AA505D0-BC9C-46DE-AC54-81D0B5901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0C6FCD2-639A-4E3E-84DF-0D177BBCC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C7891E8-AD01-4CC4-9D8D-43DD45ED5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D894359-98BD-411A-B42D-153103F64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54195FB-B80D-4C91-A7AD-978C69850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8A93DAC-F848-4610-8171-4E98404365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8ABD4AF-442F-40EB-8758-C30F428753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AEABE7C-5D16-4580-9936-3EC8B09B9B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FAC1808-F9B1-407F-956D-0BF154C668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5B22F55-3CF9-4E55-915E-B21D2A12E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C46BF9A-408A-4399-B76B-0D30A85B37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2F3E8B0-9C2C-477D-ACD7-C17C1D153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8AD51B2-C26D-4721-9803-93FD47A5CC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CE6A846-BCFA-4DAC-A140-02B8E269E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8D4BF68-654F-4900-AC51-D33EB3FAA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4A667FE-5DB4-4317-BDE7-4348F0F14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ED21DA8-AD87-4A97-9A40-E7B5C5AE75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3B7D70D-0B7C-46BC-8958-E8D4BB6BD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85A8998-93FE-4C01-B712-08395940D5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91D6879-0BB7-4961-8FD8-F20A651BA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44B06F0-F054-4A1E-A0DA-144EF8F932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1CFD532-6B34-445C-86EF-D180956CB2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3225178-B854-4BB1-BD1B-94BB5A693F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43F6944-FBD5-4DC1-AD17-71BF02AAD4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12B2E83A-C17A-451C-98DA-8DD2C1234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62ADE0C-2503-4F87-8F91-C4B810A6EE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F5DFBD8-88F5-4AD6-85BA-BC72D6089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454EEC1-4FDB-4745-80C0-7CE1654B35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DFA445C-9B4B-4E4B-A0C2-91B19159E3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FAA06D8-9790-48EC-BF6A-9936872880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C410B61-D345-495B-93D8-D0D21A351C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AE837F3-B9C4-4C4C-AF1E-DA2F77291A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40B5562-7109-4FD9-BF4E-4F2421FD3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A8E8C1F-C962-4399-A63A-FB9A2C635A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2BB660D-CE25-4EF0-939C-4ECE7B5987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0929404-5F45-46A1-A9E5-9663E0204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8F81A6A-F697-4941-B4D4-195F176CD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E5EEF3A-A443-42BD-AF6A-E0CEB237D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CAD3866-20C2-49D7-9F0B-AD99FD20F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9392E28-0487-499E-B2BD-DF9E45FCD6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5E5DBB3-EA5B-44D0-BC4B-28566AA921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9E25A091-E182-4868-821F-C4F532F53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BC379D4-33A1-4164-8BD9-BE77821032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470E841-8C3D-4F70-BB15-B3CDD1AD6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9363357-0561-4671-8E34-3A1AF1CBD4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6669927-468B-4F54-9B88-4130613E5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6E33B70-5C5B-4F08-BDD4-321F9F3DA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7CA8E75-33A0-4ABB-A1AC-E1D1BAF99B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4E8CD41-F30E-4CFB-B25D-8AB795E40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9D4E147D-8157-426E-BE2B-D629A2B96F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71A5B4F-0A63-480D-81E9-FCD65AC033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CBE4F87-D3C1-4666-A00A-CDDAE7C8FA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BCA7DAC-782A-43AF-83E3-EF29424DFD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88CFC4C-9A29-4F5B-B952-445FB8070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81C90B6-66B7-4639-8EAB-C29F2FC891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998F564-EFE2-4B43-9488-1945355743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08DD2FC-231D-47D5-B077-654EA93CE0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59351B2-F5E5-4311-AA12-12E3D3901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5A9A5D1-97FC-4E65-B0BB-D4ACFDEDF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70F7D28-CD7C-4377-9F80-F091ED5F3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0CCF4AD-D775-4CA0-B79D-73E0C38361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83E5E8D-14EF-4919-8507-06179C248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E3E46BB-6BA7-489F-A4C1-CA5F93A67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9464D2F-F2D4-4654-B217-7387D30D23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83AAF0F-897F-4569-84ED-0CB9F8F48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98BAEEC-C605-4313-A434-4C993F3DA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77847B4-1B52-4FF5-B204-F46C41BF69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20EED6F-9AD0-4EDB-9EC7-204ADD00CE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9787730-7C35-4806-A4F2-1A7EBAB868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982778B-11E2-4F32-8891-DB2F84BB7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AA1D9F4-AF12-44B3-B042-81E5CBC11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77FE0C8-A28D-457C-B370-5D499905FB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021DDEC-8B7D-4F51-BBBB-6829425E48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FC2ABDB-E8B5-4B8E-90EC-2C0F7D1CD8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3EC7372-6267-4CD2-A515-CFE6E4756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0FD1237-B0D3-43E3-ADBC-69AA112069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D92D7E8-965E-4DD7-B720-659630405E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C1AB6D6-FE29-4ACD-9AB8-811017083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088C5D0-D757-40A9-BA7C-47FC55580A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03A8F75-8C6E-4B08-A867-194182AD8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603AF6F-5B52-4048-8161-95C29709FB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762474A-B123-42BB-ACAC-F2B9922D44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D770904-950B-413B-9608-61947BF6E6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BC9203C-B1DF-4122-8589-CB24E457D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F791144-0108-45FD-80D8-C940599126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75073F2-20D1-4DCB-9B54-C19D3263B6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05A3D24-6032-4A86-A591-DD25606D59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2AAC476-F1CF-4FF5-9752-05350E151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BB4ED37-0DA9-45F8-93A9-7D3827BBC0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CC974DD-7EA7-493C-991E-A702A9617E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5307F63-C324-4814-82D0-5055D6693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182D295-181B-4CF2-9EB1-DC10F9EA50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EBE4394-646B-43E3-AF97-F558F22B7E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19F4953-D372-4EAE-9C19-A54C28E9C4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54E0F82-CA63-433E-991D-DF3A97C8AC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11AFB31-E11B-485D-A3AB-6B5CE42741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C37F85A-B806-4233-8BD1-1BE980576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958146F0-658D-4325-99F9-86E5187EB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04580E1-42B0-48E7-AA45-F13121AED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F8CD944-422D-4A0A-9141-C2411DCA97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BB74716-1BE0-4148-BE85-DB21D4172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FD93EEE-54B1-44AC-86A0-BCEAE63CED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4FFC26E-F1BD-4D8F-ACEA-99CA5C4F49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3A2CE43-D880-4F58-8E93-2EBFEBEABD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CEC1ED6-79DB-41D4-B15F-2F6E6B193D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732299E-385D-46BF-887C-C3E0CC1F2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3DF8BF0-4306-479E-9EF2-BE8452D2C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D332807-0124-458B-A7F9-F4C84C46B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293ADAF-0E1F-458B-A930-15802B9C22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EA2DDDF-978E-44C2-820D-E30758905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064C3A3-4668-4D0A-AF8C-5F2AF30ACC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99F8E80-E3F3-40E2-A84B-9FD79A8FD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8F3828C-6D30-4F4A-AF38-27DF1A9A3B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90BD220-5539-4837-88EB-2AF5505747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B5ABA1D-54DE-49F5-8937-C8FD33EF8D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31E4884-D1BB-4950-B4DA-B9B35B960E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0EF23CF-61C5-4F73-A56A-7B99DD1908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1E2C6F3-8C45-4A37-B1B3-05713B7E2F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08E81A2-A0DE-4425-A580-188A07C21B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8645952-7A7F-4DC0-9C2A-6566AA4C3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BFF9F06-7EA0-4003-A0EC-064881AC83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CE3B3FE-26B6-48FA-8F23-88AC5984B0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D15937C-895F-4E54-B856-1B7991DA18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6C420D7-F948-4B2C-9057-7664A2405E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4F648ED-388D-46FC-8C44-1E5DE2020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C14F8E9-7D3C-42B1-A5D9-8BBD2D95A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44E5486-BEF6-4250-99FF-F8904E55C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88EC12C-F7AB-4573-B10F-6ACC0F8BC8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04E5EE4-9CFC-4592-BB76-B1C9D8836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7AB3366-3FC2-46EB-9A3B-B6FB3C951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979CA5C-F3AD-4E0F-B461-D316279FB4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24F8278-7565-4C58-955D-1C5EC96939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6C5E738-C0AF-45A7-94CA-C6AA5437E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B62387B-6645-4302-967E-34DBADA84D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97C8174-CAA9-4B5C-9E8F-A99E61A5F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2E1CF72-25E8-4E73-9B3F-34EF1BFBC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5961D7E-2066-470E-A5C0-FF5D680AE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09BEB8B-2F5A-4E30-A205-603F98475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C93C509-DE55-4428-9674-2C4B52EF0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973A668-84DD-4CBA-8D0F-98F8494EC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40B5C52-D684-4F84-B99D-3FFAB2CAC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0108EAC-E027-473D-8A0A-D5B338222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296642F-872B-47AA-ADA6-7472AB2BF0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44C9AAE-3E5E-40BB-A1ED-7EDED2DFB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B2D6B10-7E89-4E08-86E3-2BC28EA79E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9DCDB74-1502-4F48-AF17-DC64AB3B03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8C5EFA1-E46C-4868-A805-BF15398A8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18A5A34-0757-4C81-87C1-98FFB5078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ACEAE85-AEF7-4EDD-94B1-2A8B1B59B3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2BF537A-E04A-4093-B322-D152DB7E0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7C34263-C043-4AF2-8E1A-96CE517CE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FEA4548-70B0-43AC-8868-2C2B3D3BD8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6A7BF30-1766-41CE-B359-DE8BCB6D6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77090E7-BD30-4D99-AB0A-D29E2F54B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E58CD40-9440-43D9-9ED9-55B53CDA9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8740217-2039-4C4F-82F1-C84C85014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F1C4F06-5D05-48D5-A5D3-F95790A87A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FC023B1-703E-4FC3-8964-B011278BB0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03CCCB4-C38E-4061-9B6B-3B4F0005D9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AB6C991-26CD-4374-83A0-65F074BB9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9575BBE-0CA5-4CC8-9AEE-C16F138F78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9D4AE08-3F76-426A-809B-6C890BEAC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2CEFDFF-F9E4-4A90-B062-C9D0D949C5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899CE4C-A766-4FB1-B752-E5B01EB12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B4606E5-4216-4A35-9879-975A28609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5F71669-EA2D-4F2B-9A96-DD3CC653D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EFFC352-A0F1-474F-A077-5CA8819F4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6AC2C4C-EA4B-4178-B5CB-E777A685E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2ADE97E-555D-4D81-A19B-0B16E3A7A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042CCC3-7448-4159-AE05-432F593008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D13E232-D314-4D25-A837-5165D5D78A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0ED2706-0D68-4437-87CC-DD77239225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8073C74-0CDD-418D-A7AB-B63489F9DA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B28DE9F-C5F4-4FF4-9221-3BF2FA797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F6F8F62-C330-449C-88DC-211325AF3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4F034D8-6176-4DF1-AB22-A1EDBB977C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058319E-3AFA-481D-B0FD-233C564D9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2E54E9A-3B4A-4A97-B957-D78CDFAAF5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73E91D8-4D2D-4EB5-B26D-929E5123A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1EAD4D8-2051-48C5-BFB2-816FF26AC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9331341-5A67-4ED7-8698-B9F2DE84C2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848ABA3-E5C9-4256-BB62-66B90F35E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A9C5BC8-3EDD-4869-AD99-8A9BCC6E0A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D1668A8-A555-4DBD-B7AF-83B3519068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335A9F6-A329-4F3F-A268-2ED76C13D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521FDAA-8E8F-43D7-BF6A-E8B1938E8D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49DA018-9599-48FB-922E-F8C3F29B4B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5CC4A49-5146-4871-9117-DC2DB803B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2BC0ED5-81DD-4F43-A3E7-756560E6D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121908C-D696-4C38-AD81-100F7C322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324959D-44A2-4A1F-9F54-A492B87DA7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671065D-9AE8-4098-874F-B2BECC6747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2328394-77C5-4D9A-B78D-58C2EA5A1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E16FAF9-9965-4DCE-AC0D-E2840A24C3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25EAC0A-E217-4E35-8055-8955EF9130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0DD643F-5E27-4B73-9E0F-6FFE7BAB01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3F907E5-D6BF-4588-A09A-A1C26B3385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198FDC1-7A92-4D33-9C65-E684FC3B54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577F180-F508-44D6-97CC-905987CA77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6CB2062-9517-48EB-AE7B-E128BE108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94D6F5D-4DC0-40F6-A2F5-333D5CE802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67F7BA0-D2EA-4218-A3F6-DC4D0C9039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2B3D40A-DCA2-48A7-ACF6-46149A7C9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A3B949C-A9F7-499F-8975-672C0FB56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5042136-A206-407A-BD73-A1BF4DC561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41846FB-599E-4141-84AC-40D70A280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4CCF153-8856-4F3F-A12A-5298D3BC4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1D1A245-8695-4B40-97EA-9A3E425B9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8831A8B-B4F6-438D-BA9E-8F6AE5E4A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C4DBE27-5820-4BE3-90F5-DBF193417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06DB169-90C7-48DB-B349-602CF73F7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82BDD25-BF2B-4031-B2B1-090B6B8005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E48D387-7FC7-4CFB-8AE4-EE04ABAF6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22041DC-3470-4B47-9062-CF25676F6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03F0800-AD79-4227-B69B-2CF563934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002C533-F0D5-4B3B-9268-9B4232326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8C08E39-4ECD-440D-9A4E-A07B7EFB39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5EE19C5-BD66-4053-B8C9-044813AE4E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53E5BC5-FDE9-4FFB-AC4B-8F3F0357F1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E95ACE4-1255-421B-BD47-6CCABD5A11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C5F8B5C-2D04-4FF2-B8D9-E8227D9C1D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6F7BDB7-C08D-4B27-9501-6C9D4C7225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F1385A9-384C-4651-9021-66299534A6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85B35A5-03B1-40F6-8884-BBA9BA011B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4ABFE1B6-6AE9-4F9D-8E64-212F62D960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84A9C02-9B57-4D74-B76D-4AA19326A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DD13697-AB13-4FBB-BBEE-210229F99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07F30C4-CD35-4E54-95D7-4EF90B8B0F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BC791A7-487C-4B7D-896D-6FC95A483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9A6CCDF-F10B-4E0F-A3BF-312E64123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9D376F9-12A2-42D4-A0FB-ED8637ADF6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D0B479C-EEAC-4825-BA02-9793DA9106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7F41E37-700F-457A-B122-96E60876CA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D574D97-C151-469F-B262-C0A51A8ED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AA5D-4F30-4926-832F-1F6D5DB8C3D3}" type="datetimeFigureOut">
              <a:rPr lang="en-AE" smtClean="0"/>
              <a:t>20/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417CA-BF64-4138-B35A-E36A7A78C840}" type="slidenum">
              <a:rPr lang="en-AE" smtClean="0"/>
              <a:t>‹#›</a:t>
            </a:fld>
            <a:endParaRPr lang="en-AE"/>
          </a:p>
        </p:txBody>
      </p:sp>
    </p:spTree>
    <p:extLst>
      <p:ext uri="{BB962C8B-B14F-4D97-AF65-F5344CB8AC3E}">
        <p14:creationId xmlns:p14="http://schemas.microsoft.com/office/powerpoint/2010/main" val="109096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7.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9.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6.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7.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668366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1236298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5194876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7066089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2823488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5898233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183041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726252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773663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250977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313141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2024992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159139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6195081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9170142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021123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4892302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5325489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7804694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6079531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767720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665640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863724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6601189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9941971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2824242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773496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8213654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2227072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681085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5874978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71711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7673076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7981322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5757141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2084164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3154479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4043377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C113E98-7689-4749-B74E-87793737B60D}">
  <ds:schemaRefs>
    <ds:schemaRef ds:uri="http://schemas.microsoft.com/sharepoint/v3/contenttype/forms"/>
  </ds:schemaRefs>
</ds:datastoreItem>
</file>

<file path=customXml/itemProps2.xml><?xml version="1.0" encoding="utf-8"?>
<ds:datastoreItem xmlns:ds="http://schemas.openxmlformats.org/officeDocument/2006/customXml" ds:itemID="{B0E6D800-E7DA-4662-9B53-41A7912895DF}">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www.w3.org/XML/1998/namespace"/>
    <ds:schemaRef ds:uri="0ad93b7f-b0cd-4c46-aaaf-ff14495948cf"/>
    <ds:schemaRef ds:uri="474cf4e4-8a51-432b-9e1b-0ea607ac38ff"/>
  </ds:schemaRefs>
</ds:datastoreItem>
</file>

<file path=customXml/itemProps3.xml><?xml version="1.0" encoding="utf-8"?>
<ds:datastoreItem xmlns:ds="http://schemas.openxmlformats.org/officeDocument/2006/customXml" ds:itemID="{CD067C82-E5C5-438E-9BC0-F429873EE7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86</TotalTime>
  <Words>3116</Words>
  <Application>Microsoft Office PowerPoint</Application>
  <PresentationFormat>On-screen Show (16:9)</PresentationFormat>
  <Paragraphs>912</Paragraphs>
  <Slides>38</Slides>
  <Notes>3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 Analysis (Replace with So What)</dc:title>
  <dc:creator>Bhagya RANASINGHE</dc:creator>
  <cp:lastModifiedBy>Salma ANANY</cp:lastModifiedBy>
  <cp:revision>50</cp:revision>
  <dcterms:created xsi:type="dcterms:W3CDTF">2024-07-05T15:31:56Z</dcterms:created>
  <dcterms:modified xsi:type="dcterms:W3CDTF">2025-08-20T14:47: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